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5"/>
  </p:notesMasterIdLst>
  <p:sldIdLst>
    <p:sldId id="256" r:id="rId2"/>
    <p:sldId id="257" r:id="rId3"/>
    <p:sldId id="259" r:id="rId4"/>
    <p:sldId id="260" r:id="rId5"/>
    <p:sldId id="287" r:id="rId6"/>
    <p:sldId id="292" r:id="rId7"/>
    <p:sldId id="261" r:id="rId8"/>
    <p:sldId id="289" r:id="rId9"/>
    <p:sldId id="288" r:id="rId10"/>
    <p:sldId id="265" r:id="rId11"/>
    <p:sldId id="290" r:id="rId12"/>
    <p:sldId id="291" r:id="rId13"/>
    <p:sldId id="272" r:id="rId14"/>
    <p:sldId id="294" r:id="rId15"/>
    <p:sldId id="297" r:id="rId16"/>
    <p:sldId id="295" r:id="rId17"/>
    <p:sldId id="271" r:id="rId18"/>
    <p:sldId id="298" r:id="rId19"/>
    <p:sldId id="299" r:id="rId20"/>
    <p:sldId id="296" r:id="rId21"/>
    <p:sldId id="273" r:id="rId22"/>
    <p:sldId id="278" r:id="rId23"/>
    <p:sldId id="293" r:id="rId24"/>
  </p:sldIdLst>
  <p:sldSz cx="9144000" cy="5143500" type="screen16x9"/>
  <p:notesSz cx="6858000" cy="9144000"/>
  <p:embeddedFontLst>
    <p:embeddedFont>
      <p:font typeface="Barlow" panose="020B0604020202020204" charset="0"/>
      <p:regular r:id="rId26"/>
      <p:bold r:id="rId27"/>
      <p:italic r:id="rId28"/>
      <p:boldItalic r:id="rId29"/>
    </p:embeddedFont>
    <p:embeddedFont>
      <p:font typeface="Barlow Light" panose="020B0604020202020204" charset="0"/>
      <p:regular r:id="rId30"/>
      <p:bold r:id="rId31"/>
      <p:italic r:id="rId32"/>
      <p:boldItalic r:id="rId33"/>
    </p:embeddedFont>
    <p:embeddedFont>
      <p:font typeface="Barlow SemiBold" panose="020B0604020202020204" charset="0"/>
      <p:regular r:id="rId34"/>
      <p:bold r:id="rId35"/>
      <p:italic r:id="rId36"/>
      <p:boldItalic r:id="rId37"/>
    </p:embeddedFon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Georgia" panose="02040502050405020303" pitchFamily="18" charset="0"/>
      <p:regular r:id="rId42"/>
      <p:bold r:id="rId43"/>
      <p:italic r:id="rId44"/>
      <p:boldItalic r:id="rId45"/>
    </p:embeddedFont>
    <p:embeddedFont>
      <p:font typeface="Montserrat" panose="020B0604020202020204" charset="0"/>
      <p:regular r:id="rId46"/>
      <p:bold r:id="rId47"/>
      <p:italic r:id="rId48"/>
      <p:boldItalic r:id="rId49"/>
    </p:embeddedFont>
    <p:embeddedFont>
      <p:font typeface="Raleway" panose="020B0604020202020204" charset="0"/>
      <p:regular r:id="rId50"/>
      <p:bold r:id="rId51"/>
      <p:italic r:id="rId52"/>
      <p:boldItalic r:id="rId53"/>
    </p:embeddedFont>
    <p:embeddedFont>
      <p:font typeface="Raleway Thin" panose="020B0604020202020204" charset="0"/>
      <p:regular r:id="rId54"/>
      <p:bold r:id="rId55"/>
      <p:italic r:id="rId56"/>
      <p:boldItalic r:id="rId5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60" dt="2021-02-17T03:33:59.104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272" autoAdjust="0"/>
  </p:normalViewPr>
  <p:slideViewPr>
    <p:cSldViewPr snapToGrid="0">
      <p:cViewPr varScale="1">
        <p:scale>
          <a:sx n="98" d="100"/>
          <a:sy n="98" d="100"/>
        </p:scale>
        <p:origin x="1018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21" Type="http://schemas.openxmlformats.org/officeDocument/2006/relationships/slide" Target="slides/slide20.xml"/><Relationship Id="rId34" Type="http://schemas.openxmlformats.org/officeDocument/2006/relationships/font" Target="fonts/font9.fntdata"/><Relationship Id="rId42" Type="http://schemas.openxmlformats.org/officeDocument/2006/relationships/font" Target="fonts/font17.fntdata"/><Relationship Id="rId47" Type="http://schemas.openxmlformats.org/officeDocument/2006/relationships/font" Target="fonts/font22.fntdata"/><Relationship Id="rId50" Type="http://schemas.openxmlformats.org/officeDocument/2006/relationships/font" Target="fonts/font25.fntdata"/><Relationship Id="rId55" Type="http://schemas.openxmlformats.org/officeDocument/2006/relationships/font" Target="fonts/font30.fntdata"/><Relationship Id="rId63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4.fntdata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font" Target="fonts/font20.fntdata"/><Relationship Id="rId53" Type="http://schemas.openxmlformats.org/officeDocument/2006/relationships/font" Target="fonts/font28.fntdata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font" Target="fonts/font23.fntdata"/><Relationship Id="rId56" Type="http://schemas.openxmlformats.org/officeDocument/2006/relationships/font" Target="fonts/font31.fntdata"/><Relationship Id="rId8" Type="http://schemas.openxmlformats.org/officeDocument/2006/relationships/slide" Target="slides/slide7.xml"/><Relationship Id="rId51" Type="http://schemas.openxmlformats.org/officeDocument/2006/relationships/font" Target="fonts/font26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font" Target="fonts/font21.fntdata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font" Target="fonts/font16.fntdata"/><Relationship Id="rId54" Type="http://schemas.openxmlformats.org/officeDocument/2006/relationships/font" Target="fonts/font29.fntdata"/><Relationship Id="rId62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49" Type="http://schemas.openxmlformats.org/officeDocument/2006/relationships/font" Target="fonts/font24.fntdata"/><Relationship Id="rId57" Type="http://schemas.openxmlformats.org/officeDocument/2006/relationships/font" Target="fonts/font32.fntdata"/><Relationship Id="rId10" Type="http://schemas.openxmlformats.org/officeDocument/2006/relationships/slide" Target="slides/slide9.xml"/><Relationship Id="rId31" Type="http://schemas.openxmlformats.org/officeDocument/2006/relationships/font" Target="fonts/font6.fntdata"/><Relationship Id="rId44" Type="http://schemas.openxmlformats.org/officeDocument/2006/relationships/font" Target="fonts/font19.fntdata"/><Relationship Id="rId52" Type="http://schemas.openxmlformats.org/officeDocument/2006/relationships/font" Target="fonts/font27.fntdata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7T03:40:59.140" v="3044" actId="20577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modSp mod">
        <pc:chgData name="Thao Hoang" userId="0e23db62feec2a5d" providerId="LiveId" clId="{3FBBEF04-9D5F-4ECB-BDEB-5AF90A52C1C7}" dt="2021-02-17T03:13:24.681" v="1707" actId="1076"/>
        <pc:sldMkLst>
          <pc:docMk/>
          <pc:sldMk cId="0" sldId="257"/>
        </pc:sldMkLst>
        <pc:spChg chg="mod">
          <ac:chgData name="Thao Hoang" userId="0e23db62feec2a5d" providerId="LiveId" clId="{3FBBEF04-9D5F-4ECB-BDEB-5AF90A52C1C7}" dt="2021-02-17T03:13:24.681" v="1707" actId="1076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NotesTx">
        <pc:chgData name="Thao Hoang" userId="0e23db62feec2a5d" providerId="LiveId" clId="{3FBBEF04-9D5F-4ECB-BDEB-5AF90A52C1C7}" dt="2021-02-17T02:09:36.508" v="117" actId="20577"/>
        <pc:sldMkLst>
          <pc:docMk/>
          <pc:sldMk cId="0" sldId="260"/>
        </pc:sldMkLst>
      </pc:sldChg>
      <pc:sldChg chg="addSp modSp mod">
        <pc:chgData name="Thao Hoang" userId="0e23db62feec2a5d" providerId="LiveId" clId="{3FBBEF04-9D5F-4ECB-BDEB-5AF90A52C1C7}" dt="2021-02-17T02:15:39.740" v="362" actId="1076"/>
        <pc:sldMkLst>
          <pc:docMk/>
          <pc:sldMk cId="0" sldId="261"/>
        </pc:sldMkLst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7T02:29:40.480" v="483" actId="14100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7T02:29:40.480" v="483" actId="14100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">
        <pc:chgData name="Thao Hoang" userId="0e23db62feec2a5d" providerId="LiveId" clId="{3FBBEF04-9D5F-4ECB-BDEB-5AF90A52C1C7}" dt="2021-02-17T03:17:01.356" v="1740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7T03:31:18.267" v="2854" actId="20577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00.702" v="1940" actId="115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42.993" v="2080" actId="20577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2:39.749" v="2208" actId="115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3:47.044" v="2366" actId="20577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31:18.267" v="2854" actId="20577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9:10.880" v="2833" actId="20577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">
        <pc:chgData name="Thao Hoang" userId="0e23db62feec2a5d" providerId="LiveId" clId="{3FBBEF04-9D5F-4ECB-BDEB-5AF90A52C1C7}" dt="2021-02-17T03:12:26.148" v="1697" actId="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NotesTx">
        <pc:chgData name="Thao Hoang" userId="0e23db62feec2a5d" providerId="LiveId" clId="{3FBBEF04-9D5F-4ECB-BDEB-5AF90A52C1C7}" dt="2021-02-17T03:36:54.676" v="3008" actId="20577"/>
        <pc:sldMkLst>
          <pc:docMk/>
          <pc:sldMk cId="229311856" sldId="287"/>
        </pc:sldMkLst>
      </pc:sldChg>
      <pc:sldChg chg="addSp modSp mod">
        <pc:chgData name="Thao Hoang" userId="0e23db62feec2a5d" providerId="LiveId" clId="{3FBBEF04-9D5F-4ECB-BDEB-5AF90A52C1C7}" dt="2021-02-17T02:34:43.391" v="505" actId="14100"/>
        <pc:sldMkLst>
          <pc:docMk/>
          <pc:sldMk cId="1092614026" sldId="288"/>
        </pc:sldMkLst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picChg chg="add mod">
          <ac:chgData name="Thao Hoang" userId="0e23db62feec2a5d" providerId="LiveId" clId="{3FBBEF04-9D5F-4ECB-BDEB-5AF90A52C1C7}" dt="2021-02-17T02:34:43.391" v="505" actId="14100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02:34:31.268" v="504" actId="14100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NotesTx">
        <pc:chgData name="Thao Hoang" userId="0e23db62feec2a5d" providerId="LiveId" clId="{3FBBEF04-9D5F-4ECB-BDEB-5AF90A52C1C7}" dt="2021-02-17T03:36:21.009" v="2998" actId="20577"/>
        <pc:sldMkLst>
          <pc:docMk/>
          <pc:sldMk cId="796415397" sldId="290"/>
        </pc:sldMkLst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add">
        <pc:chgData name="Thao Hoang" userId="0e23db62feec2a5d" providerId="LiveId" clId="{3FBBEF04-9D5F-4ECB-BDEB-5AF90A52C1C7}" dt="2021-02-17T03:33:59.102" v="2989"/>
        <pc:sldMkLst>
          <pc:docMk/>
          <pc:sldMk cId="195707369" sldId="292"/>
        </pc:sldMkLst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mod">
        <pc:chgData name="Thao Hoang" userId="0e23db62feec2a5d" providerId="LiveId" clId="{3FBBEF04-9D5F-4ECB-BDEB-5AF90A52C1C7}" dt="2021-02-17T02:45:02.010" v="602" actId="1076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">
        <pc:chgData name="Thao Hoang" userId="0e23db62feec2a5d" providerId="LiveId" clId="{3FBBEF04-9D5F-4ECB-BDEB-5AF90A52C1C7}" dt="2021-02-17T03:09:43.853" v="1576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02:53:49.789" v="1323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03:11:02.856" v="1591" actId="14100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Google Shape;738;g35ed75ccf_0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9" name="Google Shape;739;g35ed75ccf_0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92604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github.com/Navyhoang/Project2-DataJobs-App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The loaded</a:t>
            </a:r>
            <a:br>
              <a:rPr lang="en" sz="2000" dirty="0"/>
            </a:br>
            <a:r>
              <a:rPr lang="en" sz="2000" dirty="0"/>
              <a:t>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06" y="1531407"/>
            <a:ext cx="2232946" cy="2640900"/>
          </a:xfrm>
        </p:spPr>
        <p:txBody>
          <a:bodyPr/>
          <a:lstStyle/>
          <a:p>
            <a:r>
              <a:rPr lang="en-CA" sz="1600" dirty="0"/>
              <a:t>Four relational tables in the SQL Elephant Database</a:t>
            </a:r>
          </a:p>
          <a:p>
            <a:endParaRPr lang="en-CA" sz="1600" dirty="0"/>
          </a:p>
          <a:p>
            <a:r>
              <a:rPr lang="en-CA" sz="1600" dirty="0"/>
              <a:t>Each with unique key for merging purposing during querying process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28900" y="153681"/>
            <a:ext cx="6515100" cy="4825574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presentation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6076986" y="1569719"/>
            <a:ext cx="2912252" cy="2615649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" name="Google Shape;741;p18"/>
          <p:cNvSpPr txBox="1">
            <a:spLocks noGrp="1"/>
          </p:cNvSpPr>
          <p:nvPr>
            <p:ph type="ctrTitle" idx="4294967295"/>
          </p:nvPr>
        </p:nvSpPr>
        <p:spPr>
          <a:xfrm>
            <a:off x="685800" y="1570050"/>
            <a:ext cx="5566508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6000" dirty="0">
                <a:solidFill>
                  <a:schemeClr val="accent1"/>
                </a:solidFill>
              </a:rPr>
              <a:t>App Launching</a:t>
            </a:r>
            <a:endParaRPr sz="6000" dirty="0">
              <a:solidFill>
                <a:schemeClr val="accent1"/>
              </a:solidFill>
            </a:endParaRPr>
          </a:p>
        </p:txBody>
      </p:sp>
      <p:sp>
        <p:nvSpPr>
          <p:cNvPr id="743" name="Google Shape;743;p1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sp>
        <p:nvSpPr>
          <p:cNvPr id="114" name="Subtitle 2">
            <a:extLst>
              <a:ext uri="{FF2B5EF4-FFF2-40B4-BE49-F238E27FC236}">
                <a16:creationId xmlns:a16="http://schemas.microsoft.com/office/drawing/2014/main" id="{3936837B-25F6-4EC5-A396-340ACF791FCD}"/>
              </a:ext>
            </a:extLst>
          </p:cNvPr>
          <p:cNvSpPr txBox="1">
            <a:spLocks/>
          </p:cNvSpPr>
          <p:nvPr/>
        </p:nvSpPr>
        <p:spPr>
          <a:xfrm>
            <a:off x="601296" y="2873511"/>
            <a:ext cx="6737350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>
                <a:hlinkClick r:id="rId3"/>
              </a:rPr>
              <a:t>Data Job Dashboard (datajobapp.herokuapp.com)</a:t>
            </a:r>
            <a:endParaRPr lang="en-CA" sz="1600" dirty="0"/>
          </a:p>
        </p:txBody>
      </p:sp>
    </p:spTree>
    <p:extLst>
      <p:ext uri="{BB962C8B-B14F-4D97-AF65-F5344CB8AC3E}">
        <p14:creationId xmlns:p14="http://schemas.microsoft.com/office/powerpoint/2010/main" val="8473128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7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0067" y="876600"/>
            <a:ext cx="5810513" cy="3267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6" name="Google Shape;346;p13"/>
          <p:cNvSpPr txBox="1">
            <a:spLocks noGrp="1"/>
          </p:cNvSpPr>
          <p:nvPr>
            <p:ph type="body" idx="2"/>
          </p:nvPr>
        </p:nvSpPr>
        <p:spPr>
          <a:xfrm>
            <a:off x="457200" y="4090742"/>
            <a:ext cx="8229600" cy="3504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1200" b="1" dirty="0" err="1">
                <a:solidFill>
                  <a:schemeClr val="accent3"/>
                </a:solidFill>
              </a:rPr>
              <a:t>Github</a:t>
            </a:r>
            <a:r>
              <a:rPr lang="en-CA" sz="1200" b="1" dirty="0">
                <a:solidFill>
                  <a:schemeClr val="accent3"/>
                </a:solidFill>
              </a:rPr>
              <a:t> Link to the ETL process and the final cleaned data set: </a:t>
            </a:r>
            <a:r>
              <a:rPr lang="en-CA" sz="1200" dirty="0" err="1">
                <a:hlinkClick r:id="rId3"/>
              </a:rPr>
              <a:t>angmay</a:t>
            </a:r>
            <a:r>
              <a:rPr lang="en-CA" sz="1200" dirty="0">
                <a:hlinkClick r:id="rId3"/>
              </a:rPr>
              <a:t>/</a:t>
            </a:r>
            <a:r>
              <a:rPr lang="en-CA" sz="1200" dirty="0" err="1">
                <a:hlinkClick r:id="rId3"/>
              </a:rPr>
              <a:t>DataJobMarket</a:t>
            </a:r>
            <a:r>
              <a:rPr lang="en-CA" sz="1200" dirty="0">
                <a:hlinkClick r:id="rId3"/>
              </a:rPr>
              <a:t> (github.com)</a:t>
            </a:r>
            <a:endParaRPr lang="en-CA" sz="12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1200" dirty="0" err="1">
                <a:solidFill>
                  <a:schemeClr val="accent3"/>
                </a:solidFill>
              </a:rPr>
              <a:t>Github</a:t>
            </a:r>
            <a:r>
              <a:rPr lang="en-CA" sz="1200" dirty="0">
                <a:solidFill>
                  <a:schemeClr val="accent3"/>
                </a:solidFill>
              </a:rPr>
              <a:t> Link to Dashboard creation process and the final report: </a:t>
            </a:r>
            <a:r>
              <a:rPr lang="en-CA" sz="1200" dirty="0" err="1">
                <a:hlinkClick r:id="rId4"/>
              </a:rPr>
              <a:t>Navyhoang</a:t>
            </a:r>
            <a:r>
              <a:rPr lang="en-CA" sz="1200" dirty="0">
                <a:hlinkClick r:id="rId4"/>
              </a:rPr>
              <a:t>/Project2-DataJobs-App (github.com)</a:t>
            </a:r>
            <a:endParaRPr sz="1200" dirty="0">
              <a:solidFill>
                <a:schemeClr val="accent3"/>
              </a:solidFill>
            </a:endParaRPr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56647" y="3809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9" y="1351800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1200" dirty="0"/>
              <a:t>Add more features to improve users experience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457200" y="33673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nclude more countries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Expand database to include job postings and surveys from more countries</a:t>
            </a:r>
            <a:endParaRPr sz="1200" dirty="0"/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90250" y="33673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123300" y="33673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grpSp>
        <p:nvGrpSpPr>
          <p:cNvPr id="2060" name="Google Shape;2060;p34"/>
          <p:cNvGrpSpPr/>
          <p:nvPr/>
        </p:nvGrpSpPr>
        <p:grpSpPr>
          <a:xfrm>
            <a:off x="5410301" y="719490"/>
            <a:ext cx="3356124" cy="3829046"/>
            <a:chOff x="2602525" y="317054"/>
            <a:chExt cx="4174283" cy="4762495"/>
          </a:xfrm>
        </p:grpSpPr>
        <p:sp>
          <p:nvSpPr>
            <p:cNvPr id="2061" name="Google Shape;2061;p34"/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2" name="Google Shape;2062;p34"/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3" name="Google Shape;2063;p34"/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4" name="Google Shape;2064;p34"/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5" name="Google Shape;2065;p34"/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6" name="Google Shape;2066;p34"/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7" name="Google Shape;2067;p34"/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8" name="Google Shape;2068;p34"/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9" name="Google Shape;2069;p34"/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0" name="Google Shape;2070;p34"/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1" name="Google Shape;2071;p34"/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2" name="Google Shape;2072;p34"/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3" name="Google Shape;2073;p34"/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4" name="Google Shape;2074;p34"/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5" name="Google Shape;2075;p34"/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6" name="Google Shape;2076;p34"/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7" name="Google Shape;2077;p34"/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8" name="Google Shape;2078;p34"/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9" name="Google Shape;2079;p34"/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0" name="Google Shape;2080;p34"/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1" name="Google Shape;2081;p34"/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2" name="Google Shape;2082;p34"/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3" name="Google Shape;2083;p34"/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34"/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5" name="Google Shape;2085;p34"/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6" name="Google Shape;2086;p34"/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7" name="Google Shape;2087;p34"/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8" name="Google Shape;2088;p34"/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34"/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34"/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1" name="Google Shape;2091;p34"/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2" name="Google Shape;2092;p34"/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3" name="Google Shape;2093;p34"/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4" name="Google Shape;2094;p34"/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5" name="Google Shape;2095;p34"/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6" name="Google Shape;2096;p34"/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7" name="Google Shape;2097;p34"/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8" name="Google Shape;2098;p34"/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34"/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0" name="Google Shape;2100;p34"/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1" name="Google Shape;2101;p34"/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2" name="Google Shape;2102;p34"/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3" name="Google Shape;2103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4" name="Google Shape;2104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5" name="Google Shape;2105;p34"/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6" name="Google Shape;2106;p34"/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7" name="Google Shape;2107;p34"/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8" name="Google Shape;2108;p34"/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9" name="Google Shape;2109;p34"/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0" name="Google Shape;2110;p34"/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1" name="Google Shape;2111;p34"/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2" name="Google Shape;2112;p34"/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3" name="Google Shape;2113;p34"/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4" name="Google Shape;2114;p34"/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5" name="Google Shape;2115;p34"/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6" name="Google Shape;2116;p34"/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7" name="Google Shape;2117;p34"/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118" name="Google Shape;2118;p34"/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119" name="Google Shape;2119;p34"/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20" name="Google Shape;2120;p34"/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1" name="Google Shape;2121;p34"/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2" name="Google Shape;2122;p34"/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123" name="Google Shape;2123;p34"/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124" name="Google Shape;2124;p34"/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25" name="Google Shape;2125;p34"/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26" name="Google Shape;2126;p34"/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7" name="Google Shape;2127;p34"/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8" name="Google Shape;2128;p34"/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9" name="Google Shape;2129;p34"/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0" name="Google Shape;2130;p34"/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1" name="Google Shape;2131;p34"/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2" name="Google Shape;2132;p34"/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3" name="Google Shape;2133;p34"/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4" name="Google Shape;2134;p34"/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5" name="Google Shape;2135;p34"/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6" name="Google Shape;2136;p34"/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7" name="Google Shape;2137;p34"/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8" name="Google Shape;2138;p34"/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9" name="Google Shape;2139;p34"/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0" name="Google Shape;2140;p34"/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1" name="Google Shape;2141;p34"/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2" name="Google Shape;2142;p34"/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3" name="Google Shape;2143;p34"/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4" name="Google Shape;2144;p34"/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5" name="Google Shape;2145;p34"/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6" name="Google Shape;2146;p34"/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7" name="Google Shape;2147;p34"/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8" name="Google Shape;2148;p34"/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9" name="Google Shape;2149;p34"/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0" name="Google Shape;2150;p34"/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1" name="Google Shape;2151;p34"/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2" name="Google Shape;2152;p34"/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3" name="Google Shape;2153;p34"/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4" name="Google Shape;2154;p34"/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5" name="Google Shape;2155;p34"/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6" name="Google Shape;2156;p34"/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7" name="Google Shape;2157;p34"/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8" name="Google Shape;2158;p34"/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9" name="Google Shape;2159;p34"/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0" name="Google Shape;2160;p34"/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1" name="Google Shape;2161;p34"/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2" name="Google Shape;2162;p34"/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3" name="Google Shape;2163;p34"/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4" name="Google Shape;2164;p34"/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5" name="Google Shape;2165;p34"/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6" name="Google Shape;2166;p34"/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7" name="Google Shape;2167;p34"/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8" name="Google Shape;2168;p34"/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9" name="Google Shape;2169;p34"/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0" name="Google Shape;2170;p34"/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1" name="Google Shape;2171;p34"/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2" name="Google Shape;2172;p34"/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3" name="Google Shape;2173;p34"/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4" name="Google Shape;2174;p34"/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5" name="Google Shape;2175;p34"/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6" name="Google Shape;2176;p34"/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7" name="Google Shape;2177;p34"/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8" name="Google Shape;2178;p34"/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9" name="Google Shape;2179;p34"/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0" name="Google Shape;2180;p34"/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1" name="Google Shape;2181;p34"/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2" name="Google Shape;2182;p34"/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3" name="Google Shape;2183;p34"/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4" name="Google Shape;2184;p34"/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5" name="Google Shape;2185;p34"/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6" name="Google Shape;2186;p34"/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7" name="Google Shape;2187;p34"/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8" name="Google Shape;2188;p34"/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9" name="Google Shape;2189;p34"/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190" name="Google Shape;2190;p34"/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191" name="Google Shape;2191;p34"/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92" name="Google Shape;2192;p34"/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3" name="Google Shape;2193;p34"/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4" name="Google Shape;2194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5" name="Google Shape;2195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6" name="Google Shape;2196;p34"/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97" name="Google Shape;2197;p34"/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8" name="Google Shape;2198;p34"/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9" name="Google Shape;2199;p34"/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200" name="Google Shape;2200;p34"/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1" name="Google Shape;2201;p34"/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2" name="Google Shape;2202;p34"/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3" name="Google Shape;2203;p34"/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4" name="Google Shape;2204;p34"/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5" name="Google Shape;2205;p34"/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3" name="Google Shape;2213;p35"/>
          <p:cNvSpPr txBox="1">
            <a:spLocks noGrp="1"/>
          </p:cNvSpPr>
          <p:nvPr>
            <p:ph type="body" idx="1"/>
          </p:nvPr>
        </p:nvSpPr>
        <p:spPr>
          <a:xfrm>
            <a:off x="457200" y="1462350"/>
            <a:ext cx="81918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7339583" y="380988"/>
            <a:ext cx="1423417" cy="970812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8" y="1351800"/>
            <a:ext cx="8104521" cy="2887291"/>
          </a:xfrm>
        </p:spPr>
        <p:txBody>
          <a:bodyPr/>
          <a:lstStyle/>
          <a:p>
            <a:r>
              <a:rPr lang="en-CA" dirty="0"/>
              <a:t>Data roles were scraped from Indeed on 15 December 2020</a:t>
            </a:r>
          </a:p>
          <a:p>
            <a:r>
              <a:rPr lang="en-CA" dirty="0"/>
              <a:t>Job titles were categorized for simplification purpose</a:t>
            </a:r>
          </a:p>
          <a:p>
            <a:endParaRPr lang="en-CA" dirty="0"/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a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om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sg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au</a:t>
            </a:r>
          </a:p>
          <a:p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Kaggle</a:t>
            </a:r>
          </a:p>
          <a:p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b="0" i="0" u="none" strike="noStrike" baseline="0" dirty="0">
                <a:solidFill>
                  <a:srgbClr val="000000"/>
                </a:solidFill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Indeed job postings (location)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Survey responses (gender, typos) 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Foreign Keys 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Country code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Job type cod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74E0F9A-7FDE-4059-9CB1-9CD7A969DBF0}"/>
              </a:ext>
            </a:extLst>
          </p:cNvPr>
          <p:cNvSpPr txBox="1">
            <a:spLocks/>
          </p:cNvSpPr>
          <p:nvPr/>
        </p:nvSpPr>
        <p:spPr>
          <a:xfrm>
            <a:off x="457199" y="1351801"/>
            <a:ext cx="2151889" cy="1415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Relational database: Elephant SQL</a:t>
            </a:r>
          </a:p>
          <a:p>
            <a:pPr lvl="1"/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ERD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668" y="2870831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图片 4">
            <a:extLst>
              <a:ext uri="{FF2B5EF4-FFF2-40B4-BE49-F238E27FC236}">
                <a16:creationId xmlns:a16="http://schemas.microsoft.com/office/drawing/2014/main" id="{CCCD3D14-9E36-4F15-8AC2-EBD730ADF68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2962656" y="184946"/>
            <a:ext cx="5992923" cy="4716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3</TotalTime>
  <Words>593</Words>
  <Application>Microsoft Office PowerPoint</Application>
  <PresentationFormat>On-screen Show (16:9)</PresentationFormat>
  <Paragraphs>145</Paragraphs>
  <Slides>23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Calibri</vt:lpstr>
      <vt:lpstr>Barlow SemiBold</vt:lpstr>
      <vt:lpstr>Raleway Thin</vt:lpstr>
      <vt:lpstr>Arial</vt:lpstr>
      <vt:lpstr>Barlow</vt:lpstr>
      <vt:lpstr>Georgia</vt:lpstr>
      <vt:lpstr>Barlow Light</vt:lpstr>
      <vt:lpstr>Montserrat</vt:lpstr>
      <vt:lpstr>Raleway</vt:lpstr>
      <vt:lpstr>Courier New</vt:lpstr>
      <vt:lpstr>Gaoler template</vt:lpstr>
      <vt:lpstr>think-cell Slide</vt:lpstr>
      <vt:lpstr>Data Science  Jobs Market</vt:lpstr>
      <vt:lpstr>Agenda</vt:lpstr>
      <vt:lpstr>Project motivation</vt:lpstr>
      <vt:lpstr>PowerPoint Presentation</vt:lpstr>
      <vt:lpstr>ETL Process</vt:lpstr>
      <vt:lpstr>Assumptions</vt:lpstr>
      <vt:lpstr>Extraction</vt:lpstr>
      <vt:lpstr>Transformation</vt:lpstr>
      <vt:lpstr>Load</vt:lpstr>
      <vt:lpstr>The loaded database</vt:lpstr>
      <vt:lpstr>Dashboard Creation Process</vt:lpstr>
      <vt:lpstr>Apps Structure</vt:lpstr>
      <vt:lpstr>Dashboard Design</vt:lpstr>
      <vt:lpstr>Results</vt:lpstr>
      <vt:lpstr>App Launching</vt:lpstr>
      <vt:lpstr>Summary of Insights</vt:lpstr>
      <vt:lpstr>9,871</vt:lpstr>
      <vt:lpstr>Summary</vt:lpstr>
      <vt:lpstr>PowerPoint Presentation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Thao Hoang</cp:lastModifiedBy>
  <cp:revision>5</cp:revision>
  <dcterms:modified xsi:type="dcterms:W3CDTF">2021-02-17T03:41:13Z</dcterms:modified>
</cp:coreProperties>
</file>